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1"/>
    <p:sldMasterId id="2147483854" r:id="rId2"/>
    <p:sldMasterId id="2147483857" r:id="rId3"/>
  </p:sldMasterIdLst>
  <p:notesMasterIdLst>
    <p:notesMasterId r:id="rId15"/>
  </p:notesMasterIdLst>
  <p:handoutMasterIdLst>
    <p:handoutMasterId r:id="rId16"/>
  </p:handoutMasterIdLst>
  <p:sldIdLst>
    <p:sldId id="1371" r:id="rId4"/>
    <p:sldId id="1372" r:id="rId5"/>
    <p:sldId id="1391" r:id="rId6"/>
    <p:sldId id="1373" r:id="rId7"/>
    <p:sldId id="1375" r:id="rId8"/>
    <p:sldId id="1383" r:id="rId9"/>
    <p:sldId id="1389" r:id="rId10"/>
    <p:sldId id="1384" r:id="rId11"/>
    <p:sldId id="1392" r:id="rId12"/>
    <p:sldId id="1390" r:id="rId13"/>
    <p:sldId id="1387" r:id="rId14"/>
  </p:sldIdLst>
  <p:sldSz cx="9144000" cy="6858000" type="screen4x3"/>
  <p:notesSz cx="9926638" cy="6797675"/>
  <p:custDataLst>
    <p:tags r:id="rId17"/>
  </p:custDataLst>
  <p:defaultTextStyle>
    <a:defPPr>
      <a:defRPr lang="ru-RU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19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22">
          <p15:clr>
            <a:srgbClr val="A4A3A4"/>
          </p15:clr>
        </p15:guide>
        <p15:guide id="2" pos="3108">
          <p15:clr>
            <a:srgbClr val="A4A3A4"/>
          </p15:clr>
        </p15:guide>
        <p15:guide id="3" orient="horz" pos="2142">
          <p15:clr>
            <a:srgbClr val="A4A3A4"/>
          </p15:clr>
        </p15:guide>
        <p15:guide id="4" pos="31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haleva" initials="M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6FF"/>
    <a:srgbClr val="C5D9F1"/>
    <a:srgbClr val="FF5050"/>
    <a:srgbClr val="95B3D7"/>
    <a:srgbClr val="009999"/>
    <a:srgbClr val="F9F6FF"/>
    <a:srgbClr val="BDD3FF"/>
    <a:srgbClr val="FFB9BB"/>
    <a:srgbClr val="BEBACB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34" autoAdjust="0"/>
    <p:restoredTop sz="97486" autoAdjust="0"/>
  </p:normalViewPr>
  <p:slideViewPr>
    <p:cSldViewPr>
      <p:cViewPr>
        <p:scale>
          <a:sx n="121" d="100"/>
          <a:sy n="121" d="100"/>
        </p:scale>
        <p:origin x="-1698" y="-48"/>
      </p:cViewPr>
      <p:guideLst>
        <p:guide orient="horz" pos="4319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>
        <p:scale>
          <a:sx n="79" d="100"/>
          <a:sy n="79" d="100"/>
        </p:scale>
        <p:origin x="-1572" y="-924"/>
      </p:cViewPr>
      <p:guideLst>
        <p:guide orient="horz" pos="2122"/>
        <p:guide orient="horz" pos="2142"/>
        <p:guide pos="3108"/>
        <p:guide pos="3127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4"/>
            <a:ext cx="4301542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06" tIns="47753" rIns="95506" bIns="47753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64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2802" y="4"/>
            <a:ext cx="4301542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06" tIns="47753" rIns="95506" bIns="47753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65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6456615"/>
            <a:ext cx="4301542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06" tIns="47753" rIns="95506" bIns="47753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65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2802" y="6456615"/>
            <a:ext cx="4301542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06" tIns="47753" rIns="95506" bIns="47753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28CD418-5C23-4509-978E-95771ABB77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1492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4"/>
            <a:ext cx="4301542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06" tIns="47753" rIns="95506" bIns="47753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2802" y="4"/>
            <a:ext cx="4301542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06" tIns="47753" rIns="95506" bIns="47753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58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25475" y="492125"/>
            <a:ext cx="5976938" cy="4481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54182" y="5488096"/>
            <a:ext cx="9372994" cy="799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06" tIns="47753" rIns="95506" bIns="477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dirty="0"/>
              <a:t>Образец текста</a:t>
            </a:r>
          </a:p>
          <a:p>
            <a:pPr lvl="1"/>
            <a:r>
              <a:rPr lang="ru-RU" noProof="0" dirty="0"/>
              <a:t>Второй уровень</a:t>
            </a:r>
          </a:p>
          <a:p>
            <a:pPr lvl="2"/>
            <a:r>
              <a:rPr lang="ru-RU" noProof="0" dirty="0"/>
              <a:t>Третий уровень</a:t>
            </a:r>
          </a:p>
          <a:p>
            <a:pPr lvl="3"/>
            <a:r>
              <a:rPr lang="ru-RU" noProof="0" dirty="0"/>
              <a:t>Четвертый уровень</a:t>
            </a:r>
          </a:p>
          <a:p>
            <a:pPr lvl="4"/>
            <a:r>
              <a:rPr lang="ru-RU" noProof="0" dirty="0"/>
              <a:t>Пятый уровень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6456615"/>
            <a:ext cx="4301542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06" tIns="47753" rIns="95506" bIns="47753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2802" y="6456615"/>
            <a:ext cx="4301542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06" tIns="47753" rIns="95506" bIns="47753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E614434-D1BD-4975-B45F-9697B3DF883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47461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E614434-D1BD-4975-B45F-9697B3DF8831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9139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620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8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 userDrawn="1"/>
        </p:nvSpPr>
        <p:spPr bwMode="auto">
          <a:xfrm>
            <a:off x="0" y="6553200"/>
            <a:ext cx="9144000" cy="3048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l">
              <a:defRPr/>
            </a:pPr>
            <a:r>
              <a:rPr lang="ru-RU" altLang="en-GB" sz="900" dirty="0">
                <a:solidFill>
                  <a:srgbClr val="FFFFFF"/>
                </a:solidFill>
              </a:rPr>
              <a:t>Инвестиционные проекты ООО «</a:t>
            </a:r>
            <a:r>
              <a:rPr lang="ru-RU" altLang="en-GB" sz="900" dirty="0" err="1">
                <a:solidFill>
                  <a:srgbClr val="FFFFFF"/>
                </a:solidFill>
              </a:rPr>
              <a:t>Полиом</a:t>
            </a:r>
            <a:r>
              <a:rPr lang="ru-RU" altLang="en-GB" sz="900" dirty="0">
                <a:solidFill>
                  <a:srgbClr val="FFFFFF"/>
                </a:solidFill>
              </a:rPr>
              <a:t>»					                                            </a:t>
            </a:r>
            <a:fld id="{3949102F-E217-4456-BC7B-28F9895E287F}" type="slidenum">
              <a:rPr lang="ru-RU" sz="900" smtClean="0">
                <a:solidFill>
                  <a:srgbClr val="FFFFFF"/>
                </a:solidFill>
              </a:rPr>
              <a:pPr algn="l">
                <a:defRPr/>
              </a:pPr>
              <a:t>‹#›</a:t>
            </a:fld>
            <a:endParaRPr lang="ru-RU" sz="900" dirty="0">
              <a:solidFill>
                <a:srgbClr val="FFFFFF"/>
              </a:solidFill>
            </a:endParaRPr>
          </a:p>
        </p:txBody>
      </p:sp>
      <p:pic>
        <p:nvPicPr>
          <p:cNvPr id="4" name="Рисунок 3" descr="image001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12360" y="3211"/>
            <a:ext cx="1311383" cy="468515"/>
          </a:xfrm>
          <a:prstGeom prst="rect">
            <a:avLst/>
          </a:prstGeom>
          <a:solidFill>
            <a:srgbClr val="CCCCFF"/>
          </a:solidFill>
          <a:ln w="9525">
            <a:noFill/>
            <a:miter lim="800000"/>
            <a:headEnd/>
            <a:tailEnd/>
          </a:ln>
        </p:spPr>
      </p:pic>
      <p:cxnSp>
        <p:nvCxnSpPr>
          <p:cNvPr id="5" name="Прямая соединительная линия 4"/>
          <p:cNvCxnSpPr/>
          <p:nvPr userDrawn="1"/>
        </p:nvCxnSpPr>
        <p:spPr bwMode="auto">
          <a:xfrm>
            <a:off x="0" y="503675"/>
            <a:ext cx="7767355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1A386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43375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47DA1A-56E8-4932-BDB6-EC5A647F1371}" type="datetimeFigureOut">
              <a:rPr lang="ru-RU" smtClean="0"/>
              <a:pPr/>
              <a:t>2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1779EA0-6BD2-4D65-844E-125DDFCFE37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1676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624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8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 descr="image001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67355" y="6264315"/>
            <a:ext cx="1311383" cy="468515"/>
          </a:xfrm>
          <a:prstGeom prst="rect">
            <a:avLst/>
          </a:prstGeom>
          <a:solidFill>
            <a:srgbClr val="CCCCFF"/>
          </a:solidFill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86426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</p:spPr>
        <p:txBody>
          <a:bodyPr lIns="80147" tIns="40074" rIns="80147" bIns="40074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1"/>
            <a:ext cx="6400800" cy="1752600"/>
          </a:xfrm>
          <a:prstGeom prst="rect">
            <a:avLst/>
          </a:prstGeom>
        </p:spPr>
        <p:txBody>
          <a:bodyPr lIns="80147" tIns="40074" rIns="80147" bIns="4007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472" y="6356933"/>
            <a:ext cx="2133962" cy="364281"/>
          </a:xfrm>
          <a:prstGeom prst="rect">
            <a:avLst/>
          </a:prstGeom>
        </p:spPr>
        <p:txBody>
          <a:bodyPr lIns="80147" tIns="40074" rIns="80147" bIns="40074"/>
          <a:lstStyle>
            <a:lvl1pPr>
              <a:defRPr/>
            </a:lvl1pPr>
          </a:lstStyle>
          <a:p>
            <a:pPr>
              <a:defRPr/>
            </a:pPr>
            <a:fld id="{76F7C867-DC80-42C3-B6F7-24D4D273BC81}" type="datetime1">
              <a:rPr lang="ru-RU"/>
              <a:pPr>
                <a:defRPr/>
              </a:pPr>
              <a:t>2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3567" y="6356933"/>
            <a:ext cx="2896867" cy="364281"/>
          </a:xfrm>
          <a:prstGeom prst="rect">
            <a:avLst/>
          </a:prstGeom>
        </p:spPr>
        <p:txBody>
          <a:bodyPr lIns="80147" tIns="40074" rIns="80147" bIns="40074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2567" y="6356933"/>
            <a:ext cx="2133962" cy="364281"/>
          </a:xfrm>
          <a:prstGeom prst="rect">
            <a:avLst/>
          </a:prstGeom>
        </p:spPr>
        <p:txBody>
          <a:bodyPr lIns="80147" tIns="40074" rIns="80147" bIns="40074"/>
          <a:lstStyle>
            <a:lvl1pPr>
              <a:defRPr/>
            </a:lvl1pPr>
          </a:lstStyle>
          <a:p>
            <a:pPr>
              <a:defRPr/>
            </a:pPr>
            <a:fld id="{F25E757B-2ADA-4366-BD96-A6CF14F691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97150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Рисунок 1" descr="Сибур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5961063"/>
            <a:ext cx="81915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3" name="Рисунок 7" descr="Газпром Нефть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48600" y="6010275"/>
            <a:ext cx="1162050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4" name="Picture 8"/>
          <p:cNvPicPr>
            <a:picLocks noChangeAspect="1" noChangeArrowheads="1"/>
          </p:cNvPicPr>
          <p:nvPr/>
        </p:nvPicPr>
        <p:blipFill>
          <a:blip r:embed="rId5" cstate="print">
            <a:lum bright="10000"/>
          </a:blip>
          <a:srcRect/>
          <a:stretch>
            <a:fillRect/>
          </a:stretch>
        </p:blipFill>
        <p:spPr bwMode="auto">
          <a:xfrm>
            <a:off x="76200" y="76200"/>
            <a:ext cx="6934200" cy="461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 descr="image00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21579" y="6241578"/>
            <a:ext cx="1620181" cy="578839"/>
          </a:xfrm>
          <a:prstGeom prst="rect">
            <a:avLst/>
          </a:prstGeom>
          <a:solidFill>
            <a:srgbClr val="CCCCFF"/>
          </a:solidFill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7298280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08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38194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7844014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379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10255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-14529" y="3449315"/>
            <a:ext cx="9158529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52" name="TextBox 1"/>
          <p:cNvSpPr txBox="1">
            <a:spLocks noChangeArrowheads="1"/>
          </p:cNvSpPr>
          <p:nvPr/>
        </p:nvSpPr>
        <p:spPr bwMode="auto">
          <a:xfrm>
            <a:off x="2112603" y="4604591"/>
            <a:ext cx="5699757" cy="696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ru-RU" sz="2000" b="1">
                <a:solidFill>
                  <a:srgbClr val="00539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дернизация </a:t>
            </a:r>
            <a:r>
              <a:rPr lang="ru-RU" sz="2000" b="1" dirty="0">
                <a:solidFill>
                  <a:srgbClr val="00539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линии фасовки готовой продукции ООО «</a:t>
            </a:r>
            <a:r>
              <a:rPr lang="ru-RU" sz="2000" b="1" dirty="0" err="1">
                <a:solidFill>
                  <a:srgbClr val="00539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лиом</a:t>
            </a:r>
            <a:r>
              <a:rPr lang="ru-RU" sz="2000" b="1" dirty="0">
                <a:solidFill>
                  <a:srgbClr val="00539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»</a:t>
            </a:r>
          </a:p>
        </p:txBody>
      </p:sp>
      <p:sp>
        <p:nvSpPr>
          <p:cNvPr id="2053" name="TextBox 4"/>
          <p:cNvSpPr txBox="1">
            <a:spLocks noChangeArrowheads="1"/>
          </p:cNvSpPr>
          <p:nvPr/>
        </p:nvSpPr>
        <p:spPr bwMode="auto">
          <a:xfrm>
            <a:off x="2109019" y="5949280"/>
            <a:ext cx="6018376" cy="911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ru-RU" sz="1800" b="1" dirty="0">
                <a:latin typeface="Arial" pitchFamily="34" charset="0"/>
                <a:cs typeface="Arial" pitchFamily="34" charset="0"/>
              </a:rPr>
              <a:t>Докладчик: </a:t>
            </a:r>
            <a:r>
              <a:rPr lang="ru-RU" sz="1800" dirty="0">
                <a:latin typeface="Arial" pitchFamily="34" charset="0"/>
                <a:cs typeface="Arial" pitchFamily="34" charset="0"/>
              </a:rPr>
              <a:t>Мельников Александр Сергеевич </a:t>
            </a:r>
            <a:endParaRPr lang="en-US" sz="1800" dirty="0">
              <a:latin typeface="Arial" pitchFamily="34" charset="0"/>
              <a:cs typeface="Arial" pitchFamily="34" charset="0"/>
            </a:endParaRPr>
          </a:p>
          <a:p>
            <a:pPr algn="l" eaLnBrk="1" hangingPunct="1"/>
            <a:r>
              <a:rPr lang="ru-RU" sz="1800" dirty="0">
                <a:latin typeface="Arial" pitchFamily="34" charset="0"/>
                <a:cs typeface="Arial" pitchFamily="34" charset="0"/>
              </a:rPr>
              <a:t>Начальник отдела материально-технического обеспечения</a:t>
            </a:r>
          </a:p>
        </p:txBody>
      </p:sp>
      <p:pic>
        <p:nvPicPr>
          <p:cNvPr id="2054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" t="5538" b="46126"/>
          <a:stretch/>
        </p:blipFill>
        <p:spPr bwMode="auto">
          <a:xfrm>
            <a:off x="-14530" y="0"/>
            <a:ext cx="9158530" cy="3398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6" y="3375882"/>
            <a:ext cx="9142803" cy="73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-14529" y="3449314"/>
            <a:ext cx="1862466" cy="892706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171" y="3606867"/>
            <a:ext cx="1906264" cy="54055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207" y="5611376"/>
            <a:ext cx="1148158" cy="40729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207" y="4734145"/>
            <a:ext cx="979224" cy="497341"/>
          </a:xfrm>
          <a:prstGeom prst="rect">
            <a:avLst/>
          </a:prstGeom>
        </p:spPr>
      </p:pic>
      <p:cxnSp>
        <p:nvCxnSpPr>
          <p:cNvPr id="14" name="Прямая соединительная линия 13"/>
          <p:cNvCxnSpPr/>
          <p:nvPr/>
        </p:nvCxnSpPr>
        <p:spPr>
          <a:xfrm>
            <a:off x="1847936" y="4604591"/>
            <a:ext cx="0" cy="201357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61811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10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sp>
        <p:nvSpPr>
          <p:cNvPr id="18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sp>
        <p:nvSpPr>
          <p:cNvPr id="3" name="AutoShape 5" descr="C:\Users\melnikov\Desktop\%D0%9F%D1%80%D0%B5%D0%B7%D0%B8%D0%B4%D0%B5%D0%BD%D1%82%D1%81%D0%BA%D0%B0%D1%8F %D0%BF%D1%80%D0%BE%D0%B3%D1%80%D0%B0%D0%BC%D0%BC%D0%B0\%D0%BF%D0%BE%D0%B4%D0%B4%D0%BE%D0%BD %D0%B4%D0%B5%D1%80%D0%B5%D0%B2%D1%8F%D0%BD%D0%BD%D1%8B%D0%B9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513968" y="958672"/>
            <a:ext cx="411606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я текущих расходов</a:t>
            </a:r>
          </a:p>
          <a:p>
            <a:pPr marL="0" marR="0" lvl="0" indent="177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xmlns="" id="{26C656FE-F66F-4167-8481-A8C69AFB5C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3714554"/>
              </p:ext>
            </p:extLst>
          </p:nvPr>
        </p:nvGraphicFramePr>
        <p:xfrm>
          <a:off x="460375" y="1565212"/>
          <a:ext cx="8454211" cy="4733047"/>
        </p:xfrm>
        <a:graphic>
          <a:graphicData uri="http://schemas.openxmlformats.org/drawingml/2006/table">
            <a:tbl>
              <a:tblPr/>
              <a:tblGrid>
                <a:gridCol w="1870018">
                  <a:extLst>
                    <a:ext uri="{9D8B030D-6E8A-4147-A177-3AD203B41FA5}">
                      <a16:colId xmlns:a16="http://schemas.microsoft.com/office/drawing/2014/main" xmlns="" val="1696131981"/>
                    </a:ext>
                  </a:extLst>
                </a:gridCol>
                <a:gridCol w="960645">
                  <a:extLst>
                    <a:ext uri="{9D8B030D-6E8A-4147-A177-3AD203B41FA5}">
                      <a16:colId xmlns:a16="http://schemas.microsoft.com/office/drawing/2014/main" xmlns="" val="592330668"/>
                    </a:ext>
                  </a:extLst>
                </a:gridCol>
                <a:gridCol w="1500333">
                  <a:extLst>
                    <a:ext uri="{9D8B030D-6E8A-4147-A177-3AD203B41FA5}">
                      <a16:colId xmlns:a16="http://schemas.microsoft.com/office/drawing/2014/main" xmlns="" val="2885440282"/>
                    </a:ext>
                  </a:extLst>
                </a:gridCol>
                <a:gridCol w="1500333">
                  <a:extLst>
                    <a:ext uri="{9D8B030D-6E8A-4147-A177-3AD203B41FA5}">
                      <a16:colId xmlns:a16="http://schemas.microsoft.com/office/drawing/2014/main" xmlns="" val="2595314409"/>
                    </a:ext>
                  </a:extLst>
                </a:gridCol>
                <a:gridCol w="1241282">
                  <a:extLst>
                    <a:ext uri="{9D8B030D-6E8A-4147-A177-3AD203B41FA5}">
                      <a16:colId xmlns:a16="http://schemas.microsoft.com/office/drawing/2014/main" xmlns="" val="3437036573"/>
                    </a:ext>
                  </a:extLst>
                </a:gridCol>
                <a:gridCol w="1381600">
                  <a:extLst>
                    <a:ext uri="{9D8B030D-6E8A-4147-A177-3AD203B41FA5}">
                      <a16:colId xmlns:a16="http://schemas.microsoft.com/office/drawing/2014/main" xmlns="" val="3450785498"/>
                    </a:ext>
                  </a:extLst>
                </a:gridCol>
              </a:tblGrid>
              <a:tr h="8463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ырье и материалы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орма расхода кг,шт,л/т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редняя цена за 1 шт, кг, литр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оимость тары за 1 тонну по нормам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Цена за фасовку одной паллеты (</a:t>
                      </a:r>
                      <a:r>
                        <a:rPr lang="ru-RU" sz="900" b="0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55 мешков 1375 кг</a:t>
                      </a: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оимость тары и упаковки на общий объем выпуска готовой продукции (тн)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66806314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ддоны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73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0,23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7,87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2,07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0 000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80148610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FS </a:t>
                      </a: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енка 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8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7,7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4,98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106,85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15062141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ретч-худ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86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1,0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5,66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4,03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10606120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ернила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3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498,78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5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,43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26980330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лей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27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47,41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,88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1,46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02675456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: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225" marR="6225" marT="62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225" marR="6225" marT="62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351,88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858,84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3 895 677,36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82493048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17352654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0578055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94918707"/>
                  </a:ext>
                </a:extLst>
              </a:tr>
              <a:tr h="8463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ырье и материалы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орма расхода кг,шт,л/т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редняя цена за 1 шт, кг, литр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оимость тары за 1 тонну по нормам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Цена за фасовку одной паллеты (</a:t>
                      </a:r>
                      <a:r>
                        <a:rPr lang="ru-RU" sz="900" b="0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59 мешков 1475 кг</a:t>
                      </a: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оимость тары и упаковки на общий объем выпуска готовой продукции (тн)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81177916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еночный лист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3,0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3,0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3,0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0 000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14810596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FS </a:t>
                      </a: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енка 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8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7,7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4,96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187,32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1060895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ретч-худ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72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1,0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11,32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9,2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05769784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ернила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3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498,78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5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,48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92388352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лей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27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47,41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,88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,75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95468494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6225" marR="6225" marT="62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225" marR="6225" marT="62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225" marR="6225" marT="622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302,66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848,74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3 557 846,10 ₽</a:t>
                      </a:r>
                    </a:p>
                  </a:txBody>
                  <a:tcPr marL="6225" marR="6225" marT="62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B8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39185620"/>
                  </a:ext>
                </a:extLst>
              </a:tr>
              <a:tr h="169279"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69443493"/>
                  </a:ext>
                </a:extLst>
              </a:tr>
              <a:tr h="331787"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225" marR="6225" marT="62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кономия по году</a:t>
                      </a:r>
                    </a:p>
                  </a:txBody>
                  <a:tcPr marL="6225" marR="6225" marT="62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337 831,26 ₽</a:t>
                      </a:r>
                    </a:p>
                  </a:txBody>
                  <a:tcPr marL="6225" marR="6225" marT="62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610866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18393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11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sp>
        <p:nvSpPr>
          <p:cNvPr id="18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sp>
        <p:nvSpPr>
          <p:cNvPr id="3" name="AutoShape 5" descr="C:\Users\melnikov\Desktop\%D0%9F%D1%80%D0%B5%D0%B7%D0%B8%D0%B4%D0%B5%D0%BD%D1%82%D1%81%D0%BA%D0%B0%D1%8F %D0%BF%D1%80%D0%BE%D0%B3%D1%80%D0%B0%D0%BC%D0%BC%D0%B0\%D0%BF%D0%BE%D0%B4%D0%B4%D0%BE%D0%BD %D0%B4%D0%B5%D1%80%D0%B5%D0%B2%D1%8F%D0%BD%D0%BD%D1%8B%D0%B9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6140"/>
            <a:ext cx="9144000" cy="502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0965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7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2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9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047084" y="1298743"/>
            <a:ext cx="6773836" cy="4297470"/>
          </a:xfrm>
          <a:prstGeom prst="rect">
            <a:avLst/>
          </a:prstGeom>
          <a:noFill/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l"/>
            <a:r>
              <a:rPr lang="ru-RU" sz="2200" b="1" dirty="0">
                <a:solidFill>
                  <a:srgbClr val="005392"/>
                </a:solidFill>
                <a:latin typeface="Tahoma" pitchFamily="34" charset="0"/>
                <a:cs typeface="Tahoma" pitchFamily="34" charset="0"/>
              </a:rPr>
              <a:t>ОМСКИЙ ЗАВОД ПОЛИПРОПИЛЕНА </a:t>
            </a:r>
          </a:p>
          <a:p>
            <a:pPr algn="l"/>
            <a:r>
              <a:rPr lang="ru-RU" sz="2200" b="1" dirty="0">
                <a:solidFill>
                  <a:srgbClr val="005392"/>
                </a:solidFill>
                <a:latin typeface="Tahoma" pitchFamily="34" charset="0"/>
                <a:cs typeface="Tahoma" pitchFamily="34" charset="0"/>
              </a:rPr>
              <a:t>СЕГОДНЯ: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Ввод в эксплуатацию – 2012 год 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Мощность производства – 210 тыс. </a:t>
            </a:r>
            <a:r>
              <a:rPr lang="ru-RU" sz="1800" dirty="0" err="1">
                <a:latin typeface="Arial" pitchFamily="34" charset="0"/>
                <a:cs typeface="Arial" pitchFamily="34" charset="0"/>
              </a:rPr>
              <a:t>тн</a:t>
            </a:r>
            <a:r>
              <a:rPr lang="ru-RU" sz="1800" dirty="0">
                <a:latin typeface="Arial" pitchFamily="34" charset="0"/>
                <a:cs typeface="Arial" pitchFamily="34" charset="0"/>
              </a:rPr>
              <a:t>/год полипропилена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98 марок полипропилена может производиться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Освоен выпуск 16 марок полипропилена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Технология итальянской компании «</a:t>
            </a:r>
            <a:r>
              <a:rPr lang="ru-RU" sz="1800" dirty="0" err="1">
                <a:latin typeface="Arial" pitchFamily="34" charset="0"/>
                <a:cs typeface="Arial" pitchFamily="34" charset="0"/>
              </a:rPr>
              <a:t>Ly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o</a:t>
            </a:r>
            <a:r>
              <a:rPr lang="ru-RU" sz="1800" dirty="0" err="1">
                <a:latin typeface="Arial" pitchFamily="34" charset="0"/>
                <a:cs typeface="Arial" pitchFamily="34" charset="0"/>
              </a:rPr>
              <a:t>ndellBasell</a:t>
            </a:r>
            <a:r>
              <a:rPr lang="ru-RU" sz="1800" dirty="0">
                <a:latin typeface="Arial" pitchFamily="34" charset="0"/>
                <a:cs typeface="Arial" pitchFamily="34" charset="0"/>
              </a:rPr>
              <a:t>»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Практически безотходный цикл производства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Широчайшие возможности по применению продукции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Имеющиеся рынки сбыта на территории РФ и за рубежом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400 рабочих мест</a:t>
            </a:r>
          </a:p>
          <a:p>
            <a:pPr marL="153059" indent="-153059" algn="l" eaLnBrk="1" hangingPunct="1">
              <a:spcBef>
                <a:spcPts val="614"/>
              </a:spcBef>
              <a:buClr>
                <a:srgbClr val="587DBB"/>
              </a:buClr>
              <a:buSzPct val="100000"/>
              <a:buFont typeface="Calibri" pitchFamily="34" charset="0"/>
              <a:buChar char="•"/>
            </a:pPr>
            <a:r>
              <a:rPr lang="ru-RU" sz="1800" dirty="0">
                <a:latin typeface="Arial" pitchFamily="34" charset="0"/>
                <a:cs typeface="Arial" pitchFamily="34" charset="0"/>
              </a:rPr>
              <a:t>ТОП-10 крупнейших налогоплательщиков Омской област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0" y="5469986"/>
            <a:ext cx="1862466" cy="1388014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0" y="5469986"/>
            <a:ext cx="1862466" cy="73432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pic>
        <p:nvPicPr>
          <p:cNvPr id="15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79" r="19503" b="8333"/>
          <a:stretch/>
        </p:blipFill>
        <p:spPr bwMode="auto">
          <a:xfrm>
            <a:off x="0" y="1059728"/>
            <a:ext cx="1862466" cy="4308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7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3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9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064916" y="1251467"/>
            <a:ext cx="3060340" cy="419485"/>
          </a:xfrm>
          <a:prstGeom prst="rect">
            <a:avLst/>
          </a:prstGeom>
          <a:noFill/>
        </p:spPr>
        <p:txBody>
          <a:bodyPr wrap="square"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l"/>
            <a:r>
              <a:rPr lang="ru-RU" sz="2200" b="1" dirty="0">
                <a:solidFill>
                  <a:srgbClr val="005392"/>
                </a:solidFill>
                <a:latin typeface="Tahoma" pitchFamily="34" charset="0"/>
                <a:cs typeface="Tahoma" pitchFamily="34" charset="0"/>
              </a:rPr>
              <a:t>Резюме проекта</a:t>
            </a:r>
            <a:endParaRPr lang="ru-RU" sz="1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5F8797B-14AB-4173-AD7B-8E1042EF6A32}"/>
              </a:ext>
            </a:extLst>
          </p:cNvPr>
          <p:cNvSpPr txBox="1"/>
          <p:nvPr/>
        </p:nvSpPr>
        <p:spPr>
          <a:xfrm>
            <a:off x="323102" y="2071607"/>
            <a:ext cx="854397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dirty="0"/>
              <a:t>Цель проекта: модернизация линии готовой продукции ООО «</a:t>
            </a:r>
            <a:r>
              <a:rPr lang="ru-RU" dirty="0" err="1"/>
              <a:t>Полиом</a:t>
            </a:r>
            <a:r>
              <a:rPr lang="ru-RU" dirty="0"/>
              <a:t>»</a:t>
            </a:r>
          </a:p>
          <a:p>
            <a:pPr algn="l"/>
            <a:endParaRPr lang="ru-RU" dirty="0"/>
          </a:p>
          <a:p>
            <a:pPr algn="l"/>
            <a:r>
              <a:rPr lang="ru-RU" dirty="0"/>
              <a:t>Предварительная стоимость проекта: 155 млн рублей</a:t>
            </a:r>
          </a:p>
          <a:p>
            <a:pPr algn="l"/>
            <a:endParaRPr lang="ru-RU" dirty="0"/>
          </a:p>
          <a:p>
            <a:pPr algn="l"/>
            <a:r>
              <a:rPr lang="ru-RU" dirty="0"/>
              <a:t>Период реализации: 2021-2023 гг.</a:t>
            </a:r>
          </a:p>
          <a:p>
            <a:pPr algn="l"/>
            <a:endParaRPr lang="ru-RU" dirty="0"/>
          </a:p>
          <a:p>
            <a:pPr algn="l"/>
            <a:r>
              <a:rPr lang="ru-RU" dirty="0"/>
              <a:t>Достигаемые результаты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/>
              <a:t>Увеличение количества готовой продукции в одном паллете (55 мешков против 59 мешков)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/>
              <a:t>Высвобождение </a:t>
            </a:r>
            <a:r>
              <a:rPr lang="ru-RU"/>
              <a:t>площадей для </a:t>
            </a:r>
            <a:r>
              <a:rPr lang="ru-RU" dirty="0"/>
              <a:t>хранения готовой продукции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/>
              <a:t>Сокращение расходов на тару и упаковку на 10 %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/>
              <a:t>Отказ от использования деревянных поддонов (162 000 </a:t>
            </a:r>
            <a:r>
              <a:rPr lang="ru-RU" dirty="0" err="1"/>
              <a:t>шт</a:t>
            </a:r>
            <a:r>
              <a:rPr lang="ru-RU" dirty="0"/>
              <a:t>/год)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dirty="0"/>
              <a:t>Ликвидация риска заражения готовой продукции плесенью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7874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  <p:sp>
        <p:nvSpPr>
          <p:cNvPr id="51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4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sp>
        <p:nvSpPr>
          <p:cNvPr id="52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61" y="985957"/>
            <a:ext cx="8127395" cy="550267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5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sp>
        <p:nvSpPr>
          <p:cNvPr id="18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sp>
        <p:nvSpPr>
          <p:cNvPr id="3" name="AutoShape 5" descr="C:\Users\melnikov\Desktop\%D0%9F%D1%80%D0%B5%D0%B7%D0%B8%D0%B4%D0%B5%D0%BD%D1%82%D1%81%D0%BA%D0%B0%D1%8F %D0%BF%D1%80%D0%BE%D0%B3%D1%80%D0%B0%D0%BC%D0%BC%D0%B0\%D0%BF%D0%BE%D0%B4%D0%B4%D0%BE%D0%BD %D0%B4%D0%B5%D1%80%D0%B5%D0%B2%D1%8F%D0%BD%D0%BD%D1%8B%D0%B9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0415"/>
            <a:ext cx="9144000" cy="4577169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6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sp>
        <p:nvSpPr>
          <p:cNvPr id="18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sp>
        <p:nvSpPr>
          <p:cNvPr id="3" name="AutoShape 5" descr="C:\Users\melnikov\Desktop\%D0%9F%D1%80%D0%B5%D0%B7%D0%B8%D0%B4%D0%B5%D0%BD%D1%82%D1%81%D0%BA%D0%B0%D1%8F %D0%BF%D1%80%D0%BE%D0%B3%D1%80%D0%B0%D0%BC%D0%BC%D0%B0\%D0%BF%D0%BE%D0%B4%D0%B4%D0%BE%D0%BD %D0%B4%D0%B5%D1%80%D0%B5%D0%B2%D1%8F%D0%BD%D0%BD%D1%8B%D0%B9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94" name="Рисунок 93">
            <a:extLst>
              <a:ext uri="{FF2B5EF4-FFF2-40B4-BE49-F238E27FC236}">
                <a16:creationId xmlns:a16="http://schemas.microsoft.com/office/drawing/2014/main" xmlns="" id="{D5A98516-7F17-4C74-AEB5-E050D5B73C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570" y="1698508"/>
            <a:ext cx="7668188" cy="4527143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E0163EA6-7261-4F55-BA64-BF9BB90E738D}"/>
              </a:ext>
            </a:extLst>
          </p:cNvPr>
          <p:cNvSpPr txBox="1"/>
          <p:nvPr/>
        </p:nvSpPr>
        <p:spPr>
          <a:xfrm>
            <a:off x="278736" y="1010695"/>
            <a:ext cx="8513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онная структура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639096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7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sp>
        <p:nvSpPr>
          <p:cNvPr id="18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sp>
        <p:nvSpPr>
          <p:cNvPr id="3" name="AutoShape 5" descr="C:\Users\melnikov\Desktop\%D0%9F%D1%80%D0%B5%D0%B7%D0%B8%D0%B4%D0%B5%D0%BD%D1%82%D1%81%D0%BA%D0%B0%D1%8F %D0%BF%D1%80%D0%BE%D0%B3%D1%80%D0%B0%D0%BC%D0%BC%D0%B0\%D0%BF%D0%BE%D0%B4%D0%B4%D0%BE%D0%BD %D0%B4%D0%B5%D1%80%D0%B5%D0%B2%D1%8F%D0%BD%D0%BD%D1%8B%D0%B9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61AD9B75-176A-4EAE-9C52-2C09D34925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819023"/>
              </p:ext>
            </p:extLst>
          </p:nvPr>
        </p:nvGraphicFramePr>
        <p:xfrm>
          <a:off x="746576" y="2078872"/>
          <a:ext cx="7630077" cy="38864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4480">
                  <a:extLst>
                    <a:ext uri="{9D8B030D-6E8A-4147-A177-3AD203B41FA5}">
                      <a16:colId xmlns:a16="http://schemas.microsoft.com/office/drawing/2014/main" xmlns="" val="299010895"/>
                    </a:ext>
                  </a:extLst>
                </a:gridCol>
                <a:gridCol w="1262479">
                  <a:extLst>
                    <a:ext uri="{9D8B030D-6E8A-4147-A177-3AD203B41FA5}">
                      <a16:colId xmlns:a16="http://schemas.microsoft.com/office/drawing/2014/main" xmlns="" val="1716404193"/>
                    </a:ext>
                  </a:extLst>
                </a:gridCol>
                <a:gridCol w="1262479">
                  <a:extLst>
                    <a:ext uri="{9D8B030D-6E8A-4147-A177-3AD203B41FA5}">
                      <a16:colId xmlns:a16="http://schemas.microsoft.com/office/drawing/2014/main" xmlns="" val="4068760279"/>
                    </a:ext>
                  </a:extLst>
                </a:gridCol>
                <a:gridCol w="1160213">
                  <a:extLst>
                    <a:ext uri="{9D8B030D-6E8A-4147-A177-3AD203B41FA5}">
                      <a16:colId xmlns:a16="http://schemas.microsoft.com/office/drawing/2014/main" xmlns="" val="4083943755"/>
                    </a:ext>
                  </a:extLst>
                </a:gridCol>
                <a:gridCol w="1160213">
                  <a:extLst>
                    <a:ext uri="{9D8B030D-6E8A-4147-A177-3AD203B41FA5}">
                      <a16:colId xmlns:a16="http://schemas.microsoft.com/office/drawing/2014/main" xmlns="" val="521033858"/>
                    </a:ext>
                  </a:extLst>
                </a:gridCol>
                <a:gridCol w="1160213">
                  <a:extLst>
                    <a:ext uri="{9D8B030D-6E8A-4147-A177-3AD203B41FA5}">
                      <a16:colId xmlns:a16="http://schemas.microsoft.com/office/drawing/2014/main" xmlns="" val="3223048732"/>
                    </a:ext>
                  </a:extLst>
                </a:gridCol>
              </a:tblGrid>
              <a:tr h="503911">
                <a:tc rowSpan="2"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Вероятность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Степень воздействия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71113995"/>
                  </a:ext>
                </a:extLst>
              </a:tr>
              <a:tr h="6550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05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1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2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4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8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7502682"/>
                  </a:ext>
                </a:extLst>
              </a:tr>
              <a:tr h="503911"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9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FF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6333088"/>
                  </a:ext>
                </a:extLst>
              </a:tr>
              <a:tr h="521759"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7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FF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02224041"/>
                  </a:ext>
                </a:extLst>
              </a:tr>
              <a:tr h="539605"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5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3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2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1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FF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64660280"/>
                  </a:ext>
                </a:extLst>
              </a:tr>
              <a:tr h="557452"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3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1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FF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69620110"/>
                  </a:ext>
                </a:extLst>
              </a:tr>
              <a:tr h="604695"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0,1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3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tabLst>
                          <a:tab pos="630555" algn="l"/>
                        </a:tabLst>
                      </a:pPr>
                      <a:r>
                        <a:rPr lang="ru-RU" sz="1800" b="1" dirty="0">
                          <a:effectLst/>
                        </a:rPr>
                        <a:t> </a:t>
                      </a:r>
                      <a:endParaRPr lang="ru-RU" sz="18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9525" marR="9525" marT="9525" marB="0">
                    <a:solidFill>
                      <a:srgbClr val="95B3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3032560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749CBA2-BF96-4C61-95F9-52805F0CDFD3}"/>
              </a:ext>
            </a:extLst>
          </p:cNvPr>
          <p:cNvSpPr txBox="1"/>
          <p:nvPr/>
        </p:nvSpPr>
        <p:spPr>
          <a:xfrm>
            <a:off x="2366755" y="1192942"/>
            <a:ext cx="44104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иск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42735828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8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sp>
        <p:nvSpPr>
          <p:cNvPr id="18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sp>
        <p:nvSpPr>
          <p:cNvPr id="3" name="AutoShape 5" descr="C:\Users\melnikov\Desktop\%D0%9F%D1%80%D0%B5%D0%B7%D0%B8%D0%B4%D0%B5%D0%BD%D1%82%D1%81%D0%BA%D0%B0%D1%8F %D0%BF%D1%80%D0%BE%D0%B3%D1%80%D0%B0%D0%BC%D0%BC%D0%B0\%D0%BF%D0%BE%D0%B4%D0%B4%D0%BE%D0%BD %D0%B4%D0%B5%D1%80%D0%B5%D0%B2%D1%8F%D0%BD%D0%BD%D1%8B%D0%B9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4083743"/>
              </p:ext>
            </p:extLst>
          </p:nvPr>
        </p:nvGraphicFramePr>
        <p:xfrm>
          <a:off x="881590" y="1987478"/>
          <a:ext cx="7754712" cy="3961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592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954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9522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Наименование статей расход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Сумм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5225">
                <a:tc>
                  <a:txBody>
                    <a:bodyPr/>
                    <a:lstStyle/>
                    <a:p>
                      <a:pPr indent="17780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Расходы на оплату труд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700 000,00  </a:t>
                      </a:r>
                      <a:endParaRPr lang="ru-RU" sz="1000"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5225">
                <a:tc>
                  <a:txBody>
                    <a:bodyPr/>
                    <a:lstStyle/>
                    <a:p>
                      <a:pPr indent="17780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Страховые платежи (30%)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10 000,00  </a:t>
                      </a:r>
                      <a:endParaRPr lang="ru-RU" sz="1000"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5225">
                <a:tc>
                  <a:txBody>
                    <a:bodyPr/>
                    <a:lstStyle/>
                    <a:p>
                      <a:pPr indent="17780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Материалы и оборудование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15 290 000,00 ₽</a:t>
                      </a:r>
                      <a:endParaRPr lang="ru-RU" sz="1000"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90450">
                <a:tc>
                  <a:txBody>
                    <a:bodyPr/>
                    <a:lstStyle/>
                    <a:p>
                      <a:pPr indent="17780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Привлечение подрядных организаций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3 800 000,00  </a:t>
                      </a:r>
                      <a:endParaRPr lang="ru-RU" sz="1000" dirty="0"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52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   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Непредвиденные расход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 380 000,00  </a:t>
                      </a:r>
                      <a:endParaRPr lang="ru-RU" sz="1000"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952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   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Итого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53 380 000,00₽</a:t>
                      </a:r>
                      <a:endParaRPr lang="ru-RU" sz="1000" b="1" dirty="0">
                        <a:effectLst/>
                        <a:latin typeface="Arial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390473" y="1187259"/>
            <a:ext cx="4622291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чет стоимости проекта</a:t>
            </a:r>
            <a:endParaRPr kumimoji="0" lang="ru-RU" altLang="ru-RU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177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0965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1"/>
            <a:ext cx="9144000" cy="897026"/>
          </a:xfrm>
          <a:prstGeom prst="rect">
            <a:avLst/>
          </a:prstGeom>
          <a:solidFill>
            <a:srgbClr val="587D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892707"/>
            <a:ext cx="9144000" cy="73433"/>
          </a:xfrm>
          <a:prstGeom prst="rect">
            <a:avLst/>
          </a:prstGeom>
          <a:solidFill>
            <a:srgbClr val="00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047083" y="6433289"/>
            <a:ext cx="6819990" cy="0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2" y="249443"/>
            <a:ext cx="1539363" cy="436510"/>
          </a:xfrm>
          <a:prstGeom prst="rect">
            <a:avLst/>
          </a:prstGeom>
        </p:spPr>
      </p:pic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780624" y="6485099"/>
            <a:ext cx="2133962" cy="36428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651196" indent="-250460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001840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402575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1803311" indent="-200368" eaLnBrk="0" hangingPunct="0"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204047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604783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005519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406254" indent="-200368" defTabSz="914179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defTabSz="914179" eaLnBrk="1" hangingPunct="1"/>
            <a:fld id="{B000ED2F-183E-4984-9928-F3B96F257853}" type="slidenum">
              <a:rPr lang="ru-RU" sz="900" i="1" smtClean="0">
                <a:solidFill>
                  <a:srgbClr val="005392"/>
                </a:solidFill>
                <a:latin typeface="Arial" charset="0"/>
              </a:rPr>
              <a:pPr algn="r" defTabSz="914179" eaLnBrk="1" hangingPunct="1"/>
              <a:t>9</a:t>
            </a:fld>
            <a:endParaRPr lang="ru-RU" sz="900" i="1" dirty="0">
              <a:solidFill>
                <a:srgbClr val="005392"/>
              </a:solidFill>
              <a:latin typeface="Arial" charset="0"/>
            </a:endParaRPr>
          </a:p>
        </p:txBody>
      </p:sp>
      <p:sp>
        <p:nvSpPr>
          <p:cNvPr id="18" name="TextBox 9"/>
          <p:cNvSpPr txBox="1">
            <a:spLocks noChangeArrowheads="1"/>
          </p:cNvSpPr>
          <p:nvPr/>
        </p:nvSpPr>
        <p:spPr bwMode="auto">
          <a:xfrm>
            <a:off x="2047083" y="6494935"/>
            <a:ext cx="6589219" cy="21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47" tIns="40074" rIns="80147" bIns="40074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sz="900" i="1" dirty="0">
                <a:solidFill>
                  <a:srgbClr val="005392"/>
                </a:solidFill>
                <a:latin typeface="Arial" charset="0"/>
              </a:rPr>
              <a:t>Концепция проекта по модернизации линии фасовки готовой продукции</a:t>
            </a:r>
          </a:p>
        </p:txBody>
      </p:sp>
      <p:sp>
        <p:nvSpPr>
          <p:cNvPr id="3" name="AutoShape 5" descr="C:\Users\melnikov\Desktop\%D0%9F%D1%80%D0%B5%D0%B7%D0%B8%D0%B4%D0%B5%D0%BD%D1%82%D1%81%D0%BA%D0%B0%D1%8F %D0%BF%D1%80%D0%BE%D0%B3%D1%80%D0%B0%D0%BC%D0%BC%D0%B0\%D0%BF%D0%BE%D0%B4%D0%B4%D0%BE%D0%BD %D0%B4%D0%B5%D1%80%D0%B5%D0%B2%D1%8F%D0%BD%D0%BD%D1%8B%D0%B9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292570" y="996891"/>
            <a:ext cx="3594510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1778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ркетинг проекта</a:t>
            </a:r>
            <a:endParaRPr kumimoji="0" lang="ru-RU" altLang="ru-RU" sz="2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1778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Прямоугольник: скругленные углы 488">
            <a:extLst>
              <a:ext uri="{FF2B5EF4-FFF2-40B4-BE49-F238E27FC236}">
                <a16:creationId xmlns:a16="http://schemas.microsoft.com/office/drawing/2014/main" xmlns="" id="{7A9057FB-3771-4A9B-8857-D48D843B63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8893" y="1696104"/>
            <a:ext cx="1397000" cy="9144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Прямоугольник: скругленные углы 487">
            <a:extLst>
              <a:ext uri="{FF2B5EF4-FFF2-40B4-BE49-F238E27FC236}">
                <a16:creationId xmlns:a16="http://schemas.microsoft.com/office/drawing/2014/main" xmlns="" id="{18F05C68-736A-4E35-87C4-2A329254C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3464" y="1698509"/>
            <a:ext cx="1277937" cy="9144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инансовый директор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Прямоугольник: скругленные углы 486">
            <a:extLst>
              <a:ext uri="{FF2B5EF4-FFF2-40B4-BE49-F238E27FC236}">
                <a16:creationId xmlns:a16="http://schemas.microsoft.com/office/drawing/2014/main" xmlns="" id="{A72595DB-8FAD-4974-8D35-27C15ABA5B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4317" y="1691178"/>
            <a:ext cx="1550988" cy="9144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енеральный директор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" name="Прямоугольник: скругленные углы 506">
            <a:extLst>
              <a:ext uri="{FF2B5EF4-FFF2-40B4-BE49-F238E27FC236}">
                <a16:creationId xmlns:a16="http://schemas.microsoft.com/office/drawing/2014/main" xmlns="" id="{8CD4AEB0-753C-42D0-8B8E-75E6CA6D3B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4855" y="5987007"/>
            <a:ext cx="1797050" cy="371475"/>
          </a:xfrm>
          <a:prstGeom prst="roundRect">
            <a:avLst>
              <a:gd name="adj" fmla="val 16667"/>
            </a:avLst>
          </a:prstGeom>
          <a:solidFill>
            <a:srgbClr val="00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 заинтересован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Прямоугольник: скругленные углы 507">
            <a:extLst>
              <a:ext uri="{FF2B5EF4-FFF2-40B4-BE49-F238E27FC236}">
                <a16:creationId xmlns:a16="http://schemas.microsoft.com/office/drawing/2014/main" xmlns="" id="{EFD396A9-F394-456E-A455-A2287D822D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6567" y="5969396"/>
            <a:ext cx="2095500" cy="371475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носится нейтрально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" name="Прямоугольник: скругленные углы 505">
            <a:extLst>
              <a:ext uri="{FF2B5EF4-FFF2-40B4-BE49-F238E27FC236}">
                <a16:creationId xmlns:a16="http://schemas.microsoft.com/office/drawing/2014/main" xmlns="" id="{63A056EC-B692-400E-BBDA-B4AA1A3D22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3104" y="5970938"/>
            <a:ext cx="1797050" cy="371475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интересован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Овал 492">
            <a:extLst>
              <a:ext uri="{FF2B5EF4-FFF2-40B4-BE49-F238E27FC236}">
                <a16:creationId xmlns:a16="http://schemas.microsoft.com/office/drawing/2014/main" xmlns="" id="{FB4052C2-5364-4F3E-822B-47DAEA5C4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49683" y="3059470"/>
            <a:ext cx="2754313" cy="1317625"/>
          </a:xfrm>
          <a:prstGeom prst="ellips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одернизация линии фасовки готовой продукции на ООО «</a:t>
            </a:r>
            <a:r>
              <a:rPr kumimoji="0" lang="ru-RU" altLang="ru-RU" sz="14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лиом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Прямоугольник: скругленные углы 494">
            <a:extLst>
              <a:ext uri="{FF2B5EF4-FFF2-40B4-BE49-F238E27FC236}">
                <a16:creationId xmlns:a16="http://schemas.microsoft.com/office/drawing/2014/main" xmlns="" id="{9330F37E-B734-416A-B7E1-D784D20BF2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21146" y="2958936"/>
            <a:ext cx="1534160" cy="914400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чальник коммерческой службы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Прямоугольник: скругленные углы 502">
            <a:extLst>
              <a:ext uri="{FF2B5EF4-FFF2-40B4-BE49-F238E27FC236}">
                <a16:creationId xmlns:a16="http://schemas.microsoft.com/office/drawing/2014/main" xmlns="" id="{EF6F5EDE-6229-4A29-A9BF-54918E9A43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85527" y="4490713"/>
            <a:ext cx="1480661" cy="1081087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дел главного технолога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" name="Прямоугольник: скругленные углы 503">
            <a:extLst>
              <a:ext uri="{FF2B5EF4-FFF2-40B4-BE49-F238E27FC236}">
                <a16:creationId xmlns:a16="http://schemas.microsoft.com/office/drawing/2014/main" xmlns="" id="{C2BDC5A5-79E7-4771-AA05-FEFA1674AC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0528" y="4682983"/>
            <a:ext cx="2051050" cy="914400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чальник цеха производства полипропилена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Прямоугольник: скругленные углы 504">
            <a:extLst>
              <a:ext uri="{FF2B5EF4-FFF2-40B4-BE49-F238E27FC236}">
                <a16:creationId xmlns:a16="http://schemas.microsoft.com/office/drawing/2014/main" xmlns="" id="{BF339AD8-6677-4051-943B-6720A5776C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241" y="4682358"/>
            <a:ext cx="1303338" cy="9144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чальник службы по персоналу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Прямоугольник: скругленные углы 501">
            <a:extLst>
              <a:ext uri="{FF2B5EF4-FFF2-40B4-BE49-F238E27FC236}">
                <a16:creationId xmlns:a16="http://schemas.microsoft.com/office/drawing/2014/main" xmlns="" id="{0EBD4530-C6BA-47D0-B1E2-DA721E650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208" y="3461452"/>
            <a:ext cx="1327150" cy="914400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лавный инженер</a:t>
            </a: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Прямоугольник: скругленные углы 493">
            <a:extLst>
              <a:ext uri="{FF2B5EF4-FFF2-40B4-BE49-F238E27FC236}">
                <a16:creationId xmlns:a16="http://schemas.microsoft.com/office/drawing/2014/main" xmlns="" id="{37BBE92E-3336-471C-A352-2F9204DF4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396" y="2328114"/>
            <a:ext cx="1360961" cy="914400"/>
          </a:xfrm>
          <a:prstGeom prst="roundRect">
            <a:avLst>
              <a:gd name="adj" fmla="val 16667"/>
            </a:avLst>
          </a:prstGeom>
          <a:solidFill>
            <a:srgbClr val="BFBFB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Юридический отдел</a:t>
            </a: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Rectangle 60">
            <a:extLst>
              <a:ext uri="{FF2B5EF4-FFF2-40B4-BE49-F238E27FC236}">
                <a16:creationId xmlns:a16="http://schemas.microsoft.com/office/drawing/2014/main" xmlns="" id="{AC249241-3423-4B0A-A568-9EB0C3ECAA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358" y="44327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59" name="Rectangle 74">
            <a:extLst>
              <a:ext uri="{FF2B5EF4-FFF2-40B4-BE49-F238E27FC236}">
                <a16:creationId xmlns:a16="http://schemas.microsoft.com/office/drawing/2014/main" xmlns="" id="{A097FC3C-E126-47C8-AD4F-2DD1F8AF53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358" y="90047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xmlns="" id="{6E4121D9-0483-4701-91FC-3C5A840E4263}"/>
              </a:ext>
            </a:extLst>
          </p:cNvPr>
          <p:cNvCxnSpPr>
            <a:stCxn id="37" idx="2"/>
            <a:endCxn id="42" idx="1"/>
          </p:cNvCxnSpPr>
          <p:nvPr/>
        </p:nvCxnSpPr>
        <p:spPr bwMode="auto">
          <a:xfrm>
            <a:off x="2662433" y="2612909"/>
            <a:ext cx="690610" cy="63952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xmlns="" id="{1C013559-C53B-4D5F-A5C4-6DA5CDDC3E4D}"/>
              </a:ext>
            </a:extLst>
          </p:cNvPr>
          <p:cNvCxnSpPr>
            <a:stCxn id="36" idx="2"/>
            <a:endCxn id="42" idx="7"/>
          </p:cNvCxnSpPr>
          <p:nvPr/>
        </p:nvCxnSpPr>
        <p:spPr bwMode="auto">
          <a:xfrm flipH="1">
            <a:off x="5300636" y="2610504"/>
            <a:ext cx="216757" cy="64192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B579F2A0-2816-49EE-BBB0-20E396B8FE0C}"/>
              </a:ext>
            </a:extLst>
          </p:cNvPr>
          <p:cNvCxnSpPr>
            <a:stCxn id="38" idx="1"/>
          </p:cNvCxnSpPr>
          <p:nvPr/>
        </p:nvCxnSpPr>
        <p:spPr bwMode="auto">
          <a:xfrm flipH="1">
            <a:off x="5517393" y="2148378"/>
            <a:ext cx="1486924" cy="123037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xmlns="" id="{8204ABC8-A35B-4992-A456-3A511DD73761}"/>
              </a:ext>
            </a:extLst>
          </p:cNvPr>
          <p:cNvCxnSpPr>
            <a:stCxn id="43" idx="1"/>
            <a:endCxn id="42" idx="6"/>
          </p:cNvCxnSpPr>
          <p:nvPr/>
        </p:nvCxnSpPr>
        <p:spPr bwMode="auto">
          <a:xfrm flipH="1">
            <a:off x="5703996" y="3416136"/>
            <a:ext cx="1317150" cy="302147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xmlns="" id="{887F73EB-5F1A-47FC-A920-3F9D9EFBF57B}"/>
              </a:ext>
            </a:extLst>
          </p:cNvPr>
          <p:cNvCxnSpPr>
            <a:stCxn id="42" idx="5"/>
            <a:endCxn id="44" idx="1"/>
          </p:cNvCxnSpPr>
          <p:nvPr/>
        </p:nvCxnSpPr>
        <p:spPr bwMode="auto">
          <a:xfrm>
            <a:off x="5300636" y="4184133"/>
            <a:ext cx="584891" cy="84712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xmlns="" id="{8D66C494-350E-45CE-83FE-80CEECCC811C}"/>
              </a:ext>
            </a:extLst>
          </p:cNvPr>
          <p:cNvCxnSpPr>
            <a:cxnSpLocks/>
            <a:stCxn id="42" idx="4"/>
          </p:cNvCxnSpPr>
          <p:nvPr/>
        </p:nvCxnSpPr>
        <p:spPr bwMode="auto">
          <a:xfrm>
            <a:off x="4326840" y="4377095"/>
            <a:ext cx="0" cy="305263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xmlns="" id="{C4DA03BA-88E2-4F55-B997-B51103CD9D9A}"/>
              </a:ext>
            </a:extLst>
          </p:cNvPr>
          <p:cNvCxnSpPr>
            <a:cxnSpLocks/>
            <a:stCxn id="46" idx="3"/>
          </p:cNvCxnSpPr>
          <p:nvPr/>
        </p:nvCxnSpPr>
        <p:spPr bwMode="auto">
          <a:xfrm flipV="1">
            <a:off x="1743579" y="4000321"/>
            <a:ext cx="1331694" cy="113923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xmlns="" id="{1D806ACF-723C-4B9C-8B40-0E7896BAA071}"/>
              </a:ext>
            </a:extLst>
          </p:cNvPr>
          <p:cNvCxnSpPr>
            <a:stCxn id="47" idx="3"/>
            <a:endCxn id="42" idx="2"/>
          </p:cNvCxnSpPr>
          <p:nvPr/>
        </p:nvCxnSpPr>
        <p:spPr bwMode="auto">
          <a:xfrm flipV="1">
            <a:off x="1756358" y="3718283"/>
            <a:ext cx="1193325" cy="200369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xmlns="" id="{E86D00E0-B599-4F2D-A462-3523A7812339}"/>
              </a:ext>
            </a:extLst>
          </p:cNvPr>
          <p:cNvCxnSpPr>
            <a:cxnSpLocks/>
            <a:stCxn id="48" idx="3"/>
          </p:cNvCxnSpPr>
          <p:nvPr/>
        </p:nvCxnSpPr>
        <p:spPr bwMode="auto">
          <a:xfrm>
            <a:off x="1756357" y="2785314"/>
            <a:ext cx="1317151" cy="65897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02487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5&quot;&gt;&lt;elem m_fUsage=&quot;8.05865828232700920000E+000&quot;&gt;&lt;m_msothmcolidx val=&quot;0&quot;/&gt;&lt;m_rgb r=&quot;be&quot; g=&quot;ba&quot; b=&quot;cb&quot;/&gt;&lt;m_ppcolschidx tagver0=&quot;23004&quot; tagname0=&quot;m_ppcolschidxUNRECOGNIZED&quot; val=&quot;0&quot;/&gt;&lt;m_nBrightness val=&quot;0&quot;/&gt;&lt;/elem&gt;&lt;elem m_fUsage=&quot;8.14204552963824430000E-001&quot;&gt;&lt;m_msothmcolidx val=&quot;0&quot;/&gt;&lt;m_rgb r=&quot;0&quot; g=&quot;ac&quot; b=&quot;a4&quot;/&gt;&lt;m_ppcolschidx tagver0=&quot;23004&quot; tagname0=&quot;m_ppcolschidxUNRECOGNIZED&quot; val=&quot;0&quot;/&gt;&lt;m_nBrightness val=&quot;0&quot;/&gt;&lt;/elem&gt;&lt;elem m_fUsage=&quot;1.21576654590569360000E-001&quot;&gt;&lt;m_msothmcolidx val=&quot;0&quot;/&gt;&lt;m_rgb r=&quot;7a&quot; g=&quot;93&quot; b=&quot;bc&quot;/&gt;&lt;m_ppcolschidx tagver0=&quot;23004&quot; tagname0=&quot;m_ppcolschidxUNRECOGNIZED&quot; val=&quot;0&quot;/&gt;&lt;m_nBrightness val=&quot;0&quot;/&gt;&lt;/elem&gt;&lt;elem m_fUsage=&quot;1.09418989131512430000E-001&quot;&gt;&lt;m_msothmcolidx val=&quot;0&quot;/&gt;&lt;m_rgb r=&quot;ce&quot; g=&quot;f0&quot; b=&quot;ff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b6&quot; g=&quot;49&quot; b=&quot;4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8_Оформление по умолчанию">
  <a:themeElements>
    <a:clrScheme name="Оформление по умолчанию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_Оформление по умолчанию">
  <a:themeElements>
    <a:clrScheme name="Оформление по умолчанию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930</TotalTime>
  <Words>568</Words>
  <Application>Microsoft Office PowerPoint</Application>
  <PresentationFormat>Экран (4:3)</PresentationFormat>
  <Paragraphs>196</Paragraphs>
  <Slides>1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5" baseType="lpstr">
      <vt:lpstr>1_Оформление по умолчанию</vt:lpstr>
      <vt:lpstr>8_Оформление по умолчанию</vt:lpstr>
      <vt:lpstr>9_Оформление по умолчанию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К</dc:creator>
  <cp:lastModifiedBy>Гаврилов</cp:lastModifiedBy>
  <cp:revision>5922</cp:revision>
  <cp:lastPrinted>2017-03-21T03:30:54Z</cp:lastPrinted>
  <dcterms:created xsi:type="dcterms:W3CDTF">2010-03-28T07:27:57Z</dcterms:created>
  <dcterms:modified xsi:type="dcterms:W3CDTF">2020-11-27T02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